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Default Extension="gif" ContentType="image/gif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4"/>
  </p:notesMasterIdLst>
  <p:handoutMasterIdLst>
    <p:handoutMasterId r:id="rId15"/>
  </p:handoutMasterIdLst>
  <p:sldIdLst>
    <p:sldId id="311" r:id="rId2"/>
    <p:sldId id="363" r:id="rId3"/>
    <p:sldId id="340" r:id="rId4"/>
    <p:sldId id="348" r:id="rId5"/>
    <p:sldId id="359" r:id="rId6"/>
    <p:sldId id="362" r:id="rId7"/>
    <p:sldId id="364" r:id="rId8"/>
    <p:sldId id="351" r:id="rId9"/>
    <p:sldId id="356" r:id="rId10"/>
    <p:sldId id="361" r:id="rId11"/>
    <p:sldId id="365" r:id="rId12"/>
    <p:sldId id="360" r:id="rId13"/>
  </p:sldIdLst>
  <p:sldSz cx="9906000" cy="6858000" type="A4"/>
  <p:notesSz cx="6896100" cy="10033000"/>
  <p:custDataLst>
    <p:tags r:id="rId1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10" autoAdjust="0"/>
    <p:restoredTop sz="93571" autoAdjust="0"/>
  </p:normalViewPr>
  <p:slideViewPr>
    <p:cSldViewPr>
      <p:cViewPr>
        <p:scale>
          <a:sx n="90" d="100"/>
          <a:sy n="90" d="100"/>
        </p:scale>
        <p:origin x="-1230" y="-426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23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o</a:t>
            </a:r>
            <a:endParaRPr lang="pl-PL" baseline="0" dirty="0" smtClean="0"/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Funkcja </a:t>
            </a:r>
            <a:r>
              <a:rPr lang="pl-PL" dirty="0" err="1" smtClean="0"/>
              <a:t>main</a:t>
            </a:r>
            <a:r>
              <a:rPr lang="pl-PL" dirty="0" smtClean="0"/>
              <a:t> </a:t>
            </a:r>
            <a:r>
              <a:rPr lang="pl-PL" dirty="0" err="1" smtClean="0"/>
              <a:t>Arduino</a:t>
            </a:r>
            <a:r>
              <a:rPr lang="pl-PL" dirty="0" smtClean="0"/>
              <a:t> wygląda następująco: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int</a:t>
            </a:r>
            <a:r>
              <a:rPr lang="en-US" dirty="0" smtClean="0"/>
              <a:t> main(void)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init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</a:t>
            </a:r>
            <a:r>
              <a:rPr lang="en-US" dirty="0" err="1" smtClean="0"/>
              <a:t>initVariant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setu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for (;;) 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loo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if (</a:t>
            </a:r>
            <a:r>
              <a:rPr lang="en-US" dirty="0" err="1" smtClean="0"/>
              <a:t>serialEventRun</a:t>
            </a:r>
            <a:r>
              <a:rPr lang="en-US" dirty="0" smtClean="0"/>
              <a:t>) </a:t>
            </a:r>
            <a:r>
              <a:rPr lang="en-US" dirty="0" err="1" smtClean="0"/>
              <a:t>serialEventRun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}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return 0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}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3_arduino_ide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3_arduino_ide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gif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21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err="1" smtClean="0"/>
              <a:t>Arduino</a:t>
            </a:r>
            <a:r>
              <a:rPr lang="pl-PL" sz="6000" b="1" dirty="0" smtClean="0"/>
              <a:t> Software (IDE) 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105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Pulse-width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odulatio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(PWM)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1060" name="Picture 4" descr="http://www.arduino.cc/en/uploads/Tutorial/pwm.gif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89130" y="1196690"/>
            <a:ext cx="3810000" cy="4171951"/>
          </a:xfrm>
          <a:prstGeom prst="rect">
            <a:avLst/>
          </a:prstGeom>
          <a:noFill/>
        </p:spPr>
      </p:pic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968690" cy="13681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latin typeface="+mj-lt"/>
                <a:cs typeface="Courier New" pitchFamily="49" charset="0"/>
              </a:rPr>
              <a:t>Częstotliwość sygnału PWM na </a:t>
            </a:r>
            <a:r>
              <a:rPr lang="pl-PL" sz="2000" dirty="0" err="1" smtClean="0">
                <a:latin typeface="+mj-lt"/>
                <a:cs typeface="Courier New" pitchFamily="49" charset="0"/>
              </a:rPr>
              <a:t>Arduino</a:t>
            </a:r>
            <a:r>
              <a:rPr lang="pl-PL" sz="2000" dirty="0" smtClean="0">
                <a:latin typeface="+mj-lt"/>
                <a:cs typeface="Courier New" pitchFamily="49" charset="0"/>
              </a:rPr>
              <a:t> to najczęściej około 490 Hz.</a:t>
            </a:r>
            <a:endParaRPr lang="pl-PL" sz="2000" dirty="0" smtClean="0">
              <a:latin typeface="+mj-lt"/>
              <a:cs typeface="Arial" pitchFamily="34" charset="0"/>
            </a:endParaRPr>
          </a:p>
        </p:txBody>
      </p:sp>
      <p:pic>
        <p:nvPicPr>
          <p:cNvPr id="301062" name="Picture 6" descr="http://garretlab.web.fc2.com/en/arduino/inside/arduino/wiring_analog.c/fast_pwm1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72350" y="2564880"/>
            <a:ext cx="5169030" cy="3571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6659" name="Picture 3" descr="C:\git\robocap\arduino\wks2016\pwm_bb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352500" y="1399622"/>
            <a:ext cx="7388539" cy="4477718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665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265460" y="386106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93200" y="234885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0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003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– PW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664960" y="1196690"/>
            <a:ext cx="511271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804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dirty="0" err="1" smtClean="0">
                <a:solidFill>
                  <a:srgbClr val="804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dirty="0" smtClean="0">
                <a:solidFill>
                  <a:srgbClr val="804000"/>
                </a:solidFill>
                <a:latin typeface="Courier New"/>
                <a:ea typeface="Times New Roman"/>
                <a:cs typeface="Times New Roman"/>
              </a:rPr>
              <a:t>&gt; 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setup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pinMod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1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,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OUTPUT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begin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960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loop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char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c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;</a:t>
            </a:r>
            <a:r>
              <a:rPr lang="pl-PL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tring 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b="1" dirty="0" smtClean="0">
                <a:solidFill>
                  <a:srgbClr val="0000FF"/>
                </a:solidFill>
                <a:latin typeface="Courier New"/>
                <a:ea typeface="Times New Roman"/>
                <a:cs typeface="Times New Roman"/>
              </a:rPr>
              <a:t>do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</a:t>
            </a:r>
            <a:r>
              <a:rPr lang="en-US" sz="1800" b="1" dirty="0" smtClean="0">
                <a:solidFill>
                  <a:srgbClr val="0000FF"/>
                </a:solidFill>
                <a:latin typeface="Courier New"/>
                <a:ea typeface="Times New Roman"/>
                <a:cs typeface="Times New Roman"/>
              </a:rPr>
              <a:t>if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availabl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)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{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  c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read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;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+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c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;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  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 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00FF"/>
                </a:solidFill>
                <a:latin typeface="Courier New"/>
                <a:ea typeface="Times New Roman"/>
                <a:cs typeface="Times New Roman"/>
              </a:rPr>
              <a:t>whil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c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!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smtClean="0">
                <a:solidFill>
                  <a:srgbClr val="808080"/>
                </a:solidFill>
                <a:latin typeface="Courier New"/>
                <a:ea typeface="Times New Roman"/>
                <a:cs typeface="Times New Roman"/>
              </a:rPr>
              <a:t>'\n'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8000FF"/>
                </a:solidFill>
                <a:latin typeface="Courier New"/>
                <a:ea typeface="Times New Roman"/>
                <a:cs typeface="Times New Roman"/>
              </a:rPr>
              <a:t>int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v 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=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toInt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analogWrite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FF8000"/>
                </a:solidFill>
                <a:latin typeface="Courier New"/>
                <a:ea typeface="Times New Roman"/>
                <a:cs typeface="Times New Roman"/>
              </a:rPr>
              <a:t>10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,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v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Serial</a:t>
            </a:r>
            <a:r>
              <a:rPr lang="en-US" sz="1800" b="1" dirty="0" err="1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.</a:t>
            </a:r>
            <a:r>
              <a:rPr lang="en-US" sz="1800" dirty="0" err="1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println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(</a:t>
            </a:r>
            <a:r>
              <a:rPr lang="en-US" sz="1800" dirty="0" smtClean="0">
                <a:solidFill>
                  <a:srgbClr val="000000"/>
                </a:solidFill>
                <a:latin typeface="Courier New"/>
                <a:ea typeface="Times New Roman"/>
                <a:cs typeface="Times New Roman"/>
              </a:rPr>
              <a:t>v</a:t>
            </a: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);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000080"/>
                </a:solidFill>
                <a:latin typeface="Courier New"/>
                <a:ea typeface="Times New Roman"/>
                <a:cs typeface="Times New Roman"/>
              </a:rPr>
              <a:t>}</a:t>
            </a:r>
            <a:endParaRPr lang="en-US" sz="24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US" sz="2400" dirty="0" smtClean="0">
                <a:latin typeface="Calibri"/>
                <a:ea typeface="Calibri"/>
                <a:cs typeface="Times New Roman"/>
              </a:rPr>
              <a:t> </a:t>
            </a: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24859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print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l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wysłanie danych w postaci ASCII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read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>odczytanie jednego zna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begin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prędkość przesyłu danych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rial.availabl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prawdza ilość znaków do odczytania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analog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la wypełnienie cyfrowego wtyku z PWM, 0=0%, 255=100%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Nan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7203" name="Picture 3" descr="C:\Users\jczas\Downloads\nanopdf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52500" y="1139460"/>
            <a:ext cx="7308793" cy="516993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jako wersj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tandalon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kolorowanie składn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nie ma uzupełniania nazw zmiennych i funkcji i nie daje ławo dostępu do nagłówków klas i funkcj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4" descr="http://www.mobibrw.com/wp-content/uploads/2013/06/arduino_ide_ubuntu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69030" y="1196690"/>
            <a:ext cx="4248150" cy="50577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struktura „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i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”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7251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gram dla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mportuje bibliotekę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l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gt;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kłada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ię z dwóch funkcji: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ruchamiana jest raz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 starcie lub resecie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ruchamiana jest w nieskończonej pętl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l-PL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setu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 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loo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18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instalacja driver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4221110"/>
            <a:ext cx="5904820" cy="20882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Nieznane urządzenie</a:t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Aktualizuj oprogramowanie sterownika...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Przeglądaj mój komputer w poszukiwaniu oprogramowania sterownika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utoShape 4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48" name="AutoShape 8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0" name="AutoShape 10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52" name="Picture 12" descr="https://gm1.ggpht.com/FdhXnAUyhSqxGcRO8dqjv96EzDpM-bvcoQbqGdj_BOCB0TEezVY9RHEtA4jYnDpgm0-s5z6RSyPUtstLb26-owsjdwUD7ON9tKwJQet8LVZNMFHxs5ESHHyBCsxguzWglvlQU-YjIb0FJ65zo-wVWgMruuPv6oldV9almeruakUPspQNBmHUVnuAp7QqMRxrPBr5VMHjKgj0PywY1IYHaPvDahHw2WP5_3zTxMjsMiWMk4FaloL_9fSgcXVkWVGRy64QQXcDCQBJMEwNBSGFwNCpj8YM7saOSTPT4jkCo8CpAb-RdSTAYRQ8-UNhydMtmOOy7zGXDAtjXoAMMiYr4ekwKo4HjHXVn4-7a8MpP1xRRG37SywC3EarCToZv4qOfA6_iOLCrCj0zXG0ggasVvkbB80SaImd_fiVyQcYkB1Tglstc1qJ1sIFbI4XOWMVi59ENXFEBkGIaLjOZzlbYRggo6-ajcFrvo7ODXbLhIHGaLiNb3Qcx6RlFqmI0ap4tSigMKngjR4R-prD8JQyz0TxldDsi6Bp4BjF1M5lXGe4TotauETssluY3cfLiNsZBG9Hcnw4sGPANxQ7J5xQxAO3fFHkMgEDFCXdqQ=s0-l75-ft-l75-ft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064460" y="1268700"/>
            <a:ext cx="3571875" cy="2857500"/>
          </a:xfrm>
          <a:prstGeom prst="rect">
            <a:avLst/>
          </a:prstGeom>
          <a:noFill/>
        </p:spPr>
      </p:pic>
      <p:pic>
        <p:nvPicPr>
          <p:cNvPr id="291854" name="Picture 14" descr="https://gm1.ggpht.com/_ge5EMQSVB1xaPILMVSFBWsL762YyTFn26V8PakFS_vSLNTjEJ0CYKmdiJfAVD7K4O6EpOnS4MJmQBgy0Z4RHa1lWltOqrISAKGU9zWvHcsdx8i7rpjwKb_MCSaC3XxnCgXwFpvYmHe4Q25xmhsq_B4E6Feiv1ZtiR_pTkgWSkC-iqJ6mSCuh249amUiKpMpsVsAmhqIJbQ8AXxXIi7C1v1SjwOA_7B2Z-gn5OU2GvK0mdxeOlNUUAxMLcFqNeXvQdwiYHdm97ftqxVbqtgk0ZDVK6kJ3Xok8ISR8z_H_796oEPjN6iLUcLnRtnQMae0nfOGs_-nkzF2rf3IrJMYuaj1jyGMN4C66omw6-I8DavqHWwKZNNuMLbYycOUahOI5VGsnHVpGUrU0RoA-RT0J_BlPlWTD5Um95--Y5boXNcgDsPAJ1GxuMBLt3mdwk_cKXXdNVacoh2VuxvPwtnmkAKZe7MVWlmhyIV_-oiQ_TTQXCskRNUYCTtWdRCI0WTQU65Z5Sdn7Uk5UEvEFAu4egcvRVoEFomLVGBAezbQ7nRfO3dtqYm4CAIO4ix2hiM3iTEBfrBSwi4mZ9n2eGQ2B2ZmNyQWg_p_1jXPng=s0-l75-ft-l75-ft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05160" y="1916790"/>
            <a:ext cx="3028950" cy="3533776"/>
          </a:xfrm>
          <a:prstGeom prst="rect">
            <a:avLst/>
          </a:prstGeom>
          <a:noFill/>
        </p:spPr>
      </p:pic>
      <p:sp>
        <p:nvSpPr>
          <p:cNvPr id="291856" name="AutoShape 16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8" name="AutoShape 18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6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– 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89668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Board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Un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ODO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stall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driver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port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Serial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ort&gt;COM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  <a:endParaRPr lang="pl-PL" sz="20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Sketch&gt;Verify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/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pile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File&gt;Uploa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28580" y="436513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6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817120" y="4797190"/>
            <a:ext cx="301942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0" descr="https://gm1.ggpht.com/y3d0y1PJUZ5ZIvXJAUwLSUBJb3UvkxT0n_7u9qahXamKd2gDcVKcfu8jU0LQy2acj5rCXQHs2vHn9THKoOimSEkYT-hTa7-88bcw1wjjDuf35Gqly3NjX2yTv6H6Abl2pt30bo3z8JkKi59ojZE2JKSViEFlCfwBgqqWWQxVMLLEGjI4-DOiqL2CpZDe6yrMkknwx3PKFb6fP54TKTbdP4njx41jcPKrl9v4vlySA0lOW0U4VlNnIKksjd8DXahoQHLDflvRitecCVOWjFfeGXF11icTC_OicHJfPKsgsgK-Coctpz8kn_IsEf5LZ9_YOA1kpXs1MeC9vPLWh3pg_jksZ3etgm1QbAJz6CgGbFj1IKFtFNoXCBfJ6xXhFuC6BEfW8ZSMJjRM9KI21ETQK6Lj3Y4A1YOngwaGXyTwuviIGNVkgfBIXHXT9ogwWbQbjxhmWbP7_D89HPQteBZatFoLYXL-W2sdjfzWgeyC4c4wJuAr4JcUtmZV7lBUrkShofZjwegPpXhcRiWtuPJPlrePLvxXo_heGKQOpCcp7jNo6TY3OdMBe2fzz5-2bli6eJAczwNfzWK0M8AYrQT8EpQjzrYxgP7NaSyPVA=w1406-h656-l75-ft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817120" y="1484730"/>
            <a:ext cx="2990850" cy="29051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2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Breadboard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łytka do prototypow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5949350"/>
            <a:ext cx="99060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http://www.baldengineer.com/electronics-introduction-to-breadboards.html</a:t>
            </a:r>
            <a:endParaRPr lang="en-US" dirty="0"/>
          </a:p>
        </p:txBody>
      </p:sp>
      <p:pic>
        <p:nvPicPr>
          <p:cNvPr id="310281" name="Picture 9" descr="C:\Users\jczas\Downloads\bb\breadboard-with-components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rot="16200000">
            <a:off x="5879773" y="2646247"/>
            <a:ext cx="4843386" cy="1944272"/>
          </a:xfrm>
          <a:prstGeom prst="rect">
            <a:avLst/>
          </a:prstGeom>
          <a:noFill/>
        </p:spPr>
      </p:pic>
      <p:pic>
        <p:nvPicPr>
          <p:cNvPr id="310283" name="Picture 11" descr="C:\Users\jczas\Downloads\bb\breadboard_component-columns-highlighted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3501010"/>
            <a:ext cx="6120000" cy="2457792"/>
          </a:xfrm>
          <a:prstGeom prst="rect">
            <a:avLst/>
          </a:prstGeom>
          <a:noFill/>
        </p:spPr>
      </p:pic>
      <p:pic>
        <p:nvPicPr>
          <p:cNvPr id="310284" name="Picture 12" descr="C:\Users\jczas\Downloads\bb\breadboard_power_rails_highlighted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48430" y="1124680"/>
            <a:ext cx="6120000" cy="2395626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 rot="16200000">
            <a:off x="-409691" y="2274399"/>
            <a:ext cx="1877437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zasilania</a:t>
            </a:r>
            <a:endParaRPr lang="en-US" sz="1800" b="1" dirty="0" smtClean="0"/>
          </a:p>
        </p:txBody>
      </p:sp>
      <p:sp>
        <p:nvSpPr>
          <p:cNvPr id="19" name="TextBox 18"/>
          <p:cNvSpPr txBox="1"/>
          <p:nvPr/>
        </p:nvSpPr>
        <p:spPr>
          <a:xfrm rot="16200000">
            <a:off x="-659758" y="4578719"/>
            <a:ext cx="2377574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podzespołów</a:t>
            </a:r>
            <a:endParaRPr lang="en-US" sz="1800" b="1" dirty="0" smtClean="0"/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704410" y="4437142"/>
            <a:ext cx="432060" cy="14401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704410" y="4941210"/>
            <a:ext cx="432060" cy="1440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rot="5400000" flipH="1" flipV="1">
            <a:off x="560390" y="1628750"/>
            <a:ext cx="79211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rot="16200000" flipH="1">
            <a:off x="668405" y="2672895"/>
            <a:ext cx="57608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7507" name="Picture 3" descr="C:\git\RoboCap\arduino\wks\A_03_01_digital_output\digital_out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36470" y="1412720"/>
            <a:ext cx="7540355" cy="4680000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5889130" y="400508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3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265460" y="400508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3_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HIGH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LOW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OUT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_PULLUP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nfiguracja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wi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elay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s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trzymanie programu na czas określony w parametrze (milisekundy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9</Words>
  <Application>Microsoft Office PowerPoint</Application>
  <PresentationFormat>A4 Paper (210x297 mm)</PresentationFormat>
  <Paragraphs>146</Paragraphs>
  <Slides>12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Blank</vt:lpstr>
      <vt:lpstr>think-cell Slide</vt:lpstr>
      <vt:lpstr>Arduino Software (IDE) </vt:lpstr>
      <vt:lpstr>Arduino Nano</vt:lpstr>
      <vt:lpstr>Arduino IDE</vt:lpstr>
      <vt:lpstr>Arduino – struktura „main”</vt:lpstr>
      <vt:lpstr>Arduino – instalacja drivera</vt:lpstr>
      <vt:lpstr>Arduino IDE – kompilacja i wgrywanie</vt:lpstr>
      <vt:lpstr>Breadboard – płytka do prototypowania</vt:lpstr>
      <vt:lpstr>Arduino – cyfrowe wyjście</vt:lpstr>
      <vt:lpstr>Arduino – cyfrowe wyjście</vt:lpstr>
      <vt:lpstr>Arduino – Pulse-width modulation (PWM)</vt:lpstr>
      <vt:lpstr>Arduino – PWM</vt:lpstr>
      <vt:lpstr>Arduino – PWM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591</cp:revision>
  <dcterms:created xsi:type="dcterms:W3CDTF">2014-10-21T19:55:20Z</dcterms:created>
  <dcterms:modified xsi:type="dcterms:W3CDTF">2016-06-23T19:49:35Z</dcterms:modified>
</cp:coreProperties>
</file>